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332" r:id="rId2"/>
    <p:sldId id="2333" r:id="rId3"/>
    <p:sldId id="2334" r:id="rId4"/>
  </p:sldIdLst>
  <p:sldSz cx="12192000" cy="6858000"/>
  <p:notesSz cx="6858000" cy="9144000"/>
  <p:custDataLst>
    <p:tags r:id="rId5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0000"/>
    <a:srgbClr val="4472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68" d="100"/>
          <a:sy n="68" d="100"/>
        </p:scale>
        <p:origin x="58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9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85D-4210-8188-95336DAD99A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český kraj</c:v>
                </c:pt>
                <c:pt idx="2">
                  <c:v>Středočeský kraj</c:v>
                </c:pt>
                <c:pt idx="3">
                  <c:v>Pardubický kraj</c:v>
                </c:pt>
                <c:pt idx="4">
                  <c:v>Jihomoravský kraj</c:v>
                </c:pt>
                <c:pt idx="5">
                  <c:v>Zlínský kraj</c:v>
                </c:pt>
                <c:pt idx="6">
                  <c:v>Plzeňský kraj</c:v>
                </c:pt>
                <c:pt idx="7">
                  <c:v>Moravskoslezský kraj</c:v>
                </c:pt>
                <c:pt idx="8">
                  <c:v>Královéhradecký kraj</c:v>
                </c:pt>
                <c:pt idx="9">
                  <c:v>ČR</c:v>
                </c:pt>
                <c:pt idx="10">
                  <c:v>Liberecký kraj</c:v>
                </c:pt>
                <c:pt idx="11">
                  <c:v>Olomoucký kraj</c:v>
                </c:pt>
                <c:pt idx="12">
                  <c:v>Ústecký kraj</c:v>
                </c:pt>
                <c:pt idx="13">
                  <c:v>Karlovars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50505050505000004</c:v>
                </c:pt>
                <c:pt idx="1">
                  <c:v>0.48979591836699998</c:v>
                </c:pt>
                <c:pt idx="2">
                  <c:v>0.45726495726400002</c:v>
                </c:pt>
                <c:pt idx="3">
                  <c:v>0.42519685039299998</c:v>
                </c:pt>
                <c:pt idx="4">
                  <c:v>0.40253164556900001</c:v>
                </c:pt>
                <c:pt idx="5">
                  <c:v>0.37888198757699998</c:v>
                </c:pt>
                <c:pt idx="6">
                  <c:v>0.36160714285700002</c:v>
                </c:pt>
                <c:pt idx="7">
                  <c:v>0.34131736526899997</c:v>
                </c:pt>
                <c:pt idx="8">
                  <c:v>0.33043478260800002</c:v>
                </c:pt>
                <c:pt idx="9">
                  <c:v>0.32015810276599999</c:v>
                </c:pt>
                <c:pt idx="10">
                  <c:v>0.32</c:v>
                </c:pt>
                <c:pt idx="11">
                  <c:v>0.31313131313100001</c:v>
                </c:pt>
                <c:pt idx="12">
                  <c:v>0.27519379844899999</c:v>
                </c:pt>
                <c:pt idx="13">
                  <c:v>0.18072289156599999</c:v>
                </c:pt>
                <c:pt idx="14">
                  <c:v>0.156687898088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4472C4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9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187C-4B26-A62C-8D83AD58094A}"/>
              </c:ext>
            </c:extLst>
          </c:dPt>
          <c:dPt>
            <c:idx val="10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DA8-4EC9-8364-263AA008035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český kraj</c:v>
                </c:pt>
                <c:pt idx="2">
                  <c:v>Zlínský kraj</c:v>
                </c:pt>
                <c:pt idx="3">
                  <c:v>Jihomoravský kraj</c:v>
                </c:pt>
                <c:pt idx="4">
                  <c:v>Pardubický kraj</c:v>
                </c:pt>
                <c:pt idx="5">
                  <c:v>Olomoucký kraj</c:v>
                </c:pt>
                <c:pt idx="6">
                  <c:v>Plzeňský kraj</c:v>
                </c:pt>
                <c:pt idx="7">
                  <c:v>Středočeský kraj</c:v>
                </c:pt>
                <c:pt idx="8">
                  <c:v>Ústecký kraj</c:v>
                </c:pt>
                <c:pt idx="9">
                  <c:v>Královéhradecký kraj</c:v>
                </c:pt>
                <c:pt idx="10">
                  <c:v>ČR</c:v>
                </c:pt>
                <c:pt idx="11">
                  <c:v>Moravskoslezský kraj</c:v>
                </c:pt>
                <c:pt idx="12">
                  <c:v>Liberecký kraj</c:v>
                </c:pt>
                <c:pt idx="13">
                  <c:v>Karlovars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38709677419299998</c:v>
                </c:pt>
                <c:pt idx="1">
                  <c:v>0.359375</c:v>
                </c:pt>
                <c:pt idx="2">
                  <c:v>0.34090909090900001</c:v>
                </c:pt>
                <c:pt idx="3">
                  <c:v>0.33823529411699998</c:v>
                </c:pt>
                <c:pt idx="4">
                  <c:v>0.32203389830500001</c:v>
                </c:pt>
                <c:pt idx="5">
                  <c:v>0.30718954248300001</c:v>
                </c:pt>
                <c:pt idx="6">
                  <c:v>0.27272727272699998</c:v>
                </c:pt>
                <c:pt idx="7">
                  <c:v>0.26956521739099998</c:v>
                </c:pt>
                <c:pt idx="8">
                  <c:v>0.252100840336</c:v>
                </c:pt>
                <c:pt idx="9">
                  <c:v>0.24</c:v>
                </c:pt>
                <c:pt idx="10">
                  <c:v>0.236543209876</c:v>
                </c:pt>
                <c:pt idx="11">
                  <c:v>0.23624595469199999</c:v>
                </c:pt>
                <c:pt idx="12">
                  <c:v>0.189873417721</c:v>
                </c:pt>
                <c:pt idx="13">
                  <c:v>0.16279069767400001</c:v>
                </c:pt>
                <c:pt idx="14">
                  <c:v>9.513742071799999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4472C4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8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B73-42C7-B0A5-249A45A05BD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Liberecký kraj</c:v>
                </c:pt>
                <c:pt idx="2">
                  <c:v>Jihočeský kraj</c:v>
                </c:pt>
                <c:pt idx="3">
                  <c:v>Olomoucký kraj</c:v>
                </c:pt>
                <c:pt idx="4">
                  <c:v>Pardubický kraj</c:v>
                </c:pt>
                <c:pt idx="5">
                  <c:v>Jihomoravský kraj</c:v>
                </c:pt>
                <c:pt idx="6">
                  <c:v>ČR</c:v>
                </c:pt>
                <c:pt idx="7">
                  <c:v>Ústecký kraj</c:v>
                </c:pt>
                <c:pt idx="8">
                  <c:v>Zlínský kraj</c:v>
                </c:pt>
                <c:pt idx="9">
                  <c:v>Moravskoslezský kraj</c:v>
                </c:pt>
                <c:pt idx="10">
                  <c:v>Plzeňský kraj</c:v>
                </c:pt>
                <c:pt idx="11">
                  <c:v>Středočeský kraj</c:v>
                </c:pt>
                <c:pt idx="12">
                  <c:v>Karlovarský kraj</c:v>
                </c:pt>
                <c:pt idx="13">
                  <c:v>Hlavní město Praha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387940841865</c:v>
                </c:pt>
                <c:pt idx="1">
                  <c:v>0.35817307692299999</c:v>
                </c:pt>
                <c:pt idx="2">
                  <c:v>0.33537331701299999</c:v>
                </c:pt>
                <c:pt idx="3">
                  <c:v>0.32234673697999999</c:v>
                </c:pt>
                <c:pt idx="4">
                  <c:v>0.30666666666600001</c:v>
                </c:pt>
                <c:pt idx="5">
                  <c:v>0.274883359253</c:v>
                </c:pt>
                <c:pt idx="6">
                  <c:v>0.24073589676500001</c:v>
                </c:pt>
                <c:pt idx="7">
                  <c:v>0.23693143245000001</c:v>
                </c:pt>
                <c:pt idx="8">
                  <c:v>0.215384615384</c:v>
                </c:pt>
                <c:pt idx="9">
                  <c:v>0.20573654390900001</c:v>
                </c:pt>
                <c:pt idx="10">
                  <c:v>0.20450395617700001</c:v>
                </c:pt>
                <c:pt idx="11">
                  <c:v>0.18052516411299999</c:v>
                </c:pt>
                <c:pt idx="12">
                  <c:v>0.172248803827</c:v>
                </c:pt>
                <c:pt idx="13">
                  <c:v>0.150171714018</c:v>
                </c:pt>
                <c:pt idx="14">
                  <c:v>0.1197648787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37149-65B5-40C0-A148-5C0780A20B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4BE70A-7F29-4223-A3CA-61E551FDDC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652B65-704D-45EB-9963-4141CB9053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3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2A396D-ED3C-40A7-A84A-FA6B1A083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2B84A6-BF36-4830-9DEB-D538717EC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341049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3E19C-275D-4815-B111-B9E627F64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5D1869-CF2C-4605-A2D0-B2FF1A0F3B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EE69E2-43F9-4A68-9572-EE80CBA78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3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AF432D-DBB6-4517-89F4-5AE668AB7B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A92ABC-732F-4E6E-8072-74D75700D7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040754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25BEF72-EF5B-47ED-B1AF-0C552ABB05F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C9AFF00-5600-43A1-96D3-EFB6CE5BB2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ECF071-93D5-4021-AB20-65709FAA15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3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67CEB7-1EA9-4F8B-88BD-B5DF11E7D1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5EC400-B874-46D9-8A2B-A5C433195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360998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8023493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40312C-16C5-4EC5-BFB5-CC5C632C0B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29715A-0CFC-4C2E-9068-7DF48BB7AE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F4618D-F07C-4AA8-B8B3-F2AB8B22C4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3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A87515-7F99-4E50-8332-483C5E8B4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D35ACF-FB41-49E3-92DE-4820036A1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920340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262F51-B53B-457A-A6AF-28D267CF3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FE44A6-E02C-4130-9FDD-3C159AA625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BAF497-906E-4C9E-89F1-966198E1F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3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F1F17D-B3E7-445C-8A01-FD1EF60A0A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DFA466-2841-42D8-BCE2-B1B5CDEDD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770547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88A46-C80B-4BB2-A239-0C10C8454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87DB0E-EFEB-4E51-A2C8-81905B8A6F1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E6D96F-ABEB-4929-A377-663E4B1222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1F07FB-D56E-4E33-A81C-905BD0C4C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3.11.2021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83F511-1976-4B8E-98FC-0395B51EC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DFDC02-60AB-4F63-9D6E-DB9D0B5123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326670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28EAFA-0B56-4B9F-9CCC-4C485BCFE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BE7AC3-0A1D-431D-A6D2-6746C564A5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8A6C4D-35C7-4157-9F39-8B684B0EA4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C5FE6C-9A5C-4C77-AB2B-9D56959A61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0EE7EE-79CB-4CD9-A2A6-4E1745ECA8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94F10D9-D330-4D79-838E-8A2FB338C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3.11.2021</a:t>
            </a:fld>
            <a:endParaRPr lang="cs-CZ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D5BC18B-9753-47A0-A6DE-E4F8F5983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104369-AB2C-4D6F-BB1F-DCBF27C19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441608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2A295-0C6A-400D-AC20-90ED7D6D3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9328C9-4230-49B1-96AE-6828B2D034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3.11.2021</a:t>
            </a:fld>
            <a:endParaRPr lang="cs-CZ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B4D6FA-768F-46ED-8EE5-68EEDA8A7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F19649-51CA-447C-92C7-139673C3D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503921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2D5272-8A1F-47C9-9F72-D750D6193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3.11.2021</a:t>
            </a:fld>
            <a:endParaRPr lang="cs-CZ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C24208-EDF0-4AC7-918C-14DBF5269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FBB15F-958A-489F-8D5E-AE51FF0EB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034682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FF7104-5F5A-48BF-8F1C-2512FC482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9FF1B-98C2-4B86-BE1B-CFEB2105E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1FFF5D-6844-436F-9EB9-03D03EBA20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631352-6286-4234-9179-CEE9E16BA7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3.11.2021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74CF46-A376-42E1-B58C-3FEB8407D3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730FE8-8F9C-472D-9441-975DA0384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963675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9CEBF-587F-4FCA-B912-52AA74777D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089BE9-E83A-4915-8B58-49579A23E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490D4A-B1EB-4E0F-B046-C794409110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43ADA9-083B-49AA-8D2C-520EE4F55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3.11.2021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4DF203-BE4D-4FBA-9511-DD6B7EB356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A07A47-AF88-4D6C-B7A4-47B4424D7C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650562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364EC2-A2EC-4DE5-85B7-53077A78B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A035FA-16EA-48E9-A4CF-24D03D0A85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058C2A-3294-4D93-B6D3-CD4C09A39B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DA3A0F-9B2E-4AAE-BF10-3AD84EB845DD}" type="datetimeFigureOut">
              <a:rPr lang="cs-CZ" smtClean="0"/>
              <a:t>13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6E0E2-ED72-462D-A571-FDF80829AF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AE22D9-ED75-49B2-874D-6B9FC81E11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849666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chart" Target="../charts/chart1.xml"/><Relationship Id="rId4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chart" Target="../charts/chart2.xml"/><Relationship Id="rId4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chart" Target="../charts/chart3.xml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JIP</a:t>
            </a:r>
            <a:endParaRPr lang="cs-CZ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2324245"/>
              </p:ext>
            </p:extLst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6921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JIP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81788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UPV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393336"/>
              </p:ext>
            </p:extLst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7237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cs-CZ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PV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57746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standartních lůžek s kyslíkem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9905496"/>
              </p:ext>
            </p:extLst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58086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cs-CZ" dirty="0"/>
              <a:t>lůžek s kyslíkem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9273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3</TotalTime>
  <Words>47</Words>
  <Application>Microsoft Office PowerPoint</Application>
  <PresentationFormat>Širokoúhlá obrazovka</PresentationFormat>
  <Paragraphs>6</Paragraphs>
  <Slides>3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3</vt:i4>
      </vt:variant>
    </vt:vector>
  </HeadingPairs>
  <TitlesOfParts>
    <vt:vector size="7" baseType="lpstr">
      <vt:lpstr>Arial</vt:lpstr>
      <vt:lpstr>Calibri</vt:lpstr>
      <vt:lpstr>Calibri Light</vt:lpstr>
      <vt:lpstr>Office Theme</vt:lpstr>
      <vt:lpstr>Podíl (%) volné aktuálně nahlášené kapacity JIP</vt:lpstr>
      <vt:lpstr>Podíl (%) volné aktuálně nahlášené kapacity UPV</vt:lpstr>
      <vt:lpstr>Podíl (%) volné aktuálně nahlášené kapacity standartních lůžek s kyslíkem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Zouharová Anna Bc.</cp:lastModifiedBy>
  <cp:revision>11</cp:revision>
  <dcterms:created xsi:type="dcterms:W3CDTF">2021-10-29T17:14:18Z</dcterms:created>
  <dcterms:modified xsi:type="dcterms:W3CDTF">2021-11-13T18:18:06Z</dcterms:modified>
</cp:coreProperties>
</file>